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66" r:id="rId3"/>
    <p:sldId id="267" r:id="rId4"/>
    <p:sldId id="268" r:id="rId5"/>
    <p:sldId id="269" r:id="rId6"/>
    <p:sldId id="261" r:id="rId7"/>
    <p:sldId id="262" r:id="rId8"/>
    <p:sldId id="264" r:id="rId9"/>
    <p:sldId id="265" r:id="rId10"/>
    <p:sldId id="263" r:id="rId11"/>
  </p:sldIdLst>
  <p:sldSz cx="12192000" cy="6858000"/>
  <p:notesSz cx="6858000" cy="9144000"/>
  <p:custDataLst>
    <p:tags r:id="rId12"/>
  </p:custDataLst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E6E6"/>
    <a:srgbClr val="BA61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06"/>
    <p:restoredTop sz="94388"/>
  </p:normalViewPr>
  <p:slideViewPr>
    <p:cSldViewPr snapToGrid="0" snapToObjects="1">
      <p:cViewPr varScale="1">
        <p:scale>
          <a:sx n="78" d="100"/>
          <a:sy n="78" d="100"/>
        </p:scale>
        <p:origin x="208" y="4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jp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FECAED04-652C-1C4C-A7E0-F682CE4A7D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7243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7">
            <a:extLst>
              <a:ext uri="{FF2B5EF4-FFF2-40B4-BE49-F238E27FC236}">
                <a16:creationId xmlns:a16="http://schemas.microsoft.com/office/drawing/2014/main" id="{54073102-0A88-0340-AE41-12B20FC0AA2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3568"/>
            <a:ext cx="12192000" cy="6850864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E638196-EE02-1B4C-9877-8F5D0D4D8D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30957" y="3729804"/>
            <a:ext cx="5522843" cy="535531"/>
          </a:xfrm>
        </p:spPr>
        <p:txBody>
          <a:bodyPr wrap="square" lIns="90000" anchor="b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AR" sz="3200" b="0" i="0" smtClean="0">
                <a:effectLst/>
              </a:defRPr>
            </a:lvl1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This is where your talk title goes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AA85928-B777-264B-BF59-1CA62688EE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0957" y="4357410"/>
            <a:ext cx="5522843" cy="535531"/>
          </a:xfrm>
        </p:spPr>
        <p:txBody>
          <a:bodyPr wrap="square" lIns="90000">
            <a:spAutoFit/>
          </a:bodyPr>
          <a:lstStyle>
            <a:lvl1pPr marL="0" indent="0" algn="l">
              <a:buNone/>
              <a:defRPr lang="es-AR" sz="3200" b="0" i="0" smtClean="0">
                <a:effectLst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Your name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31145A12-B854-8641-A00B-4135BE91EC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19359" b="23068"/>
          <a:stretch/>
        </p:blipFill>
        <p:spPr>
          <a:xfrm>
            <a:off x="1195193" y="884605"/>
            <a:ext cx="3084286" cy="1049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8537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0AE44888-C0B5-274E-A8C1-2504ECAB45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8898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Imagen 20">
            <a:extLst>
              <a:ext uri="{FF2B5EF4-FFF2-40B4-BE49-F238E27FC236}">
                <a16:creationId xmlns:a16="http://schemas.microsoft.com/office/drawing/2014/main" id="{18F996EF-ECEC-4946-8104-367AC47211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2207" b="12887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4" name="Rectángulo 13">
            <a:extLst>
              <a:ext uri="{FF2B5EF4-FFF2-40B4-BE49-F238E27FC236}">
                <a16:creationId xmlns:a16="http://schemas.microsoft.com/office/drawing/2014/main" id="{92109ED2-0F5F-EE47-BFAA-AEF1324F7A61}"/>
              </a:ext>
            </a:extLst>
          </p:cNvPr>
          <p:cNvSpPr/>
          <p:nvPr userDrawn="1"/>
        </p:nvSpPr>
        <p:spPr>
          <a:xfrm>
            <a:off x="3559804" y="2229678"/>
            <a:ext cx="5072393" cy="2398644"/>
          </a:xfrm>
          <a:prstGeom prst="rect">
            <a:avLst/>
          </a:prstGeom>
          <a:solidFill>
            <a:srgbClr val="00206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AD1F159D-F7CA-1A48-808B-523331E0CC41}"/>
              </a:ext>
            </a:extLst>
          </p:cNvPr>
          <p:cNvGrpSpPr/>
          <p:nvPr userDrawn="1"/>
        </p:nvGrpSpPr>
        <p:grpSpPr>
          <a:xfrm>
            <a:off x="6379217" y="5360895"/>
            <a:ext cx="4263475" cy="1039906"/>
            <a:chOff x="6942406" y="5360895"/>
            <a:chExt cx="4263475" cy="1039906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3162E07C-E8B1-674E-AB99-6127987E68D7}"/>
                </a:ext>
              </a:extLst>
            </p:cNvPr>
            <p:cNvSpPr/>
            <p:nvPr/>
          </p:nvSpPr>
          <p:spPr>
            <a:xfrm>
              <a:off x="6942406" y="5360895"/>
              <a:ext cx="4263475" cy="1039906"/>
            </a:xfrm>
            <a:prstGeom prst="rect">
              <a:avLst/>
            </a:prstGeom>
            <a:solidFill>
              <a:srgbClr val="BA61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" name="Grupo 8">
              <a:extLst>
                <a:ext uri="{FF2B5EF4-FFF2-40B4-BE49-F238E27FC236}">
                  <a16:creationId xmlns:a16="http://schemas.microsoft.com/office/drawing/2014/main" id="{AE9BD430-2467-4F4E-A45B-07F78D586656}"/>
                </a:ext>
              </a:extLst>
            </p:cNvPr>
            <p:cNvGrpSpPr/>
            <p:nvPr/>
          </p:nvGrpSpPr>
          <p:grpSpPr>
            <a:xfrm>
              <a:off x="7066061" y="5465350"/>
              <a:ext cx="4016164" cy="830997"/>
              <a:chOff x="6942407" y="5465350"/>
              <a:chExt cx="4016164" cy="830997"/>
            </a:xfrm>
          </p:grpSpPr>
          <p:sp>
            <p:nvSpPr>
              <p:cNvPr id="10" name="CuadroTexto 9">
                <a:extLst>
                  <a:ext uri="{FF2B5EF4-FFF2-40B4-BE49-F238E27FC236}">
                    <a16:creationId xmlns:a16="http://schemas.microsoft.com/office/drawing/2014/main" id="{16414B48-5914-464B-AB76-5A03ECCD9D4D}"/>
                  </a:ext>
                </a:extLst>
              </p:cNvPr>
              <p:cNvSpPr txBox="1"/>
              <p:nvPr/>
            </p:nvSpPr>
            <p:spPr>
              <a:xfrm>
                <a:off x="6942407" y="5526905"/>
                <a:ext cx="2459328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ACHECON NA</a:t>
                </a:r>
              </a:p>
              <a:p>
                <a:r>
                  <a:rPr lang="es-ES_tradnl" sz="20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pt</a:t>
                </a:r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28th – Oct. 2nd</a:t>
                </a:r>
              </a:p>
            </p:txBody>
          </p:sp>
          <p:sp>
            <p:nvSpPr>
              <p:cNvPr id="11" name="CuadroTexto 10">
                <a:extLst>
                  <a:ext uri="{FF2B5EF4-FFF2-40B4-BE49-F238E27FC236}">
                    <a16:creationId xmlns:a16="http://schemas.microsoft.com/office/drawing/2014/main" id="{3F9CD32D-39A5-DB48-A4AB-BC8E83CFFACE}"/>
                  </a:ext>
                </a:extLst>
              </p:cNvPr>
              <p:cNvSpPr txBox="1"/>
              <p:nvPr/>
            </p:nvSpPr>
            <p:spPr>
              <a:xfrm>
                <a:off x="9401735" y="5465350"/>
                <a:ext cx="1556836" cy="8309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48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20</a:t>
                </a:r>
              </a:p>
            </p:txBody>
          </p:sp>
        </p:grpSp>
      </p:grpSp>
      <p:sp>
        <p:nvSpPr>
          <p:cNvPr id="12" name="Título 1">
            <a:extLst>
              <a:ext uri="{FF2B5EF4-FFF2-40B4-BE49-F238E27FC236}">
                <a16:creationId xmlns:a16="http://schemas.microsoft.com/office/drawing/2014/main" id="{AFF1CFF8-6432-1145-8AB9-5F5A1522C0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64262" y="2521295"/>
            <a:ext cx="4263475" cy="978729"/>
          </a:xfrm>
        </p:spPr>
        <p:txBody>
          <a:bodyPr wrap="square" lIns="90000" anchor="b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AR" sz="3200" b="0" i="0" smtClean="0">
                <a:effectLst/>
              </a:defRPr>
            </a:lvl1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This is where your talk title goes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1B38B458-4B01-2D4C-9339-684E3F874C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64262" y="3737871"/>
            <a:ext cx="4263475" cy="535531"/>
          </a:xfrm>
        </p:spPr>
        <p:txBody>
          <a:bodyPr wrap="square" lIns="90000">
            <a:spAutoFit/>
          </a:bodyPr>
          <a:lstStyle>
            <a:lvl1pPr marL="0" indent="0" algn="ctr">
              <a:buNone/>
              <a:defRPr lang="es-AR" sz="3200" b="0" i="0" smtClean="0">
                <a:effectLst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Your name</a:t>
            </a:r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E33BFAA0-395C-1E44-99C2-D5B7B368B062}"/>
              </a:ext>
            </a:extLst>
          </p:cNvPr>
          <p:cNvCxnSpPr>
            <a:cxnSpLocks/>
          </p:cNvCxnSpPr>
          <p:nvPr userDrawn="1"/>
        </p:nvCxnSpPr>
        <p:spPr>
          <a:xfrm flipH="1">
            <a:off x="3964262" y="3618948"/>
            <a:ext cx="4263475" cy="0"/>
          </a:xfrm>
          <a:prstGeom prst="line">
            <a:avLst/>
          </a:prstGeom>
          <a:ln w="28575">
            <a:solidFill>
              <a:srgbClr val="E6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31346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>
            <a:extLst>
              <a:ext uri="{FF2B5EF4-FFF2-40B4-BE49-F238E27FC236}">
                <a16:creationId xmlns:a16="http://schemas.microsoft.com/office/drawing/2014/main" id="{9DEB1EBC-F0E9-2340-AB25-0821D76FB4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344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6">
            <a:extLst>
              <a:ext uri="{FF2B5EF4-FFF2-40B4-BE49-F238E27FC236}">
                <a16:creationId xmlns:a16="http://schemas.microsoft.com/office/drawing/2014/main" id="{4CB4AC6E-30AF-FE4C-9702-D66E650A92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12371" b="12396"/>
          <a:stretch/>
        </p:blipFill>
        <p:spPr>
          <a:xfrm>
            <a:off x="0" y="0"/>
            <a:ext cx="12195048" cy="6858000"/>
          </a:xfrm>
          <a:prstGeom prst="rect">
            <a:avLst/>
          </a:prstGeom>
        </p:spPr>
      </p:pic>
      <p:grpSp>
        <p:nvGrpSpPr>
          <p:cNvPr id="7" name="Grupo 6">
            <a:extLst>
              <a:ext uri="{FF2B5EF4-FFF2-40B4-BE49-F238E27FC236}">
                <a16:creationId xmlns:a16="http://schemas.microsoft.com/office/drawing/2014/main" id="{6532EAB1-7B96-F745-9A79-6C309ED7DA34}"/>
              </a:ext>
            </a:extLst>
          </p:cNvPr>
          <p:cNvGrpSpPr/>
          <p:nvPr userDrawn="1"/>
        </p:nvGrpSpPr>
        <p:grpSpPr>
          <a:xfrm>
            <a:off x="6379217" y="5360895"/>
            <a:ext cx="4263475" cy="1039906"/>
            <a:chOff x="6942406" y="5360895"/>
            <a:chExt cx="4263475" cy="1039906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CECC512A-E30C-D449-B170-2AFA804D7FA5}"/>
                </a:ext>
              </a:extLst>
            </p:cNvPr>
            <p:cNvSpPr/>
            <p:nvPr/>
          </p:nvSpPr>
          <p:spPr>
            <a:xfrm>
              <a:off x="6942406" y="5360895"/>
              <a:ext cx="4263475" cy="1039906"/>
            </a:xfrm>
            <a:prstGeom prst="rect">
              <a:avLst/>
            </a:prstGeom>
            <a:solidFill>
              <a:srgbClr val="BA61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" name="Grupo 8">
              <a:extLst>
                <a:ext uri="{FF2B5EF4-FFF2-40B4-BE49-F238E27FC236}">
                  <a16:creationId xmlns:a16="http://schemas.microsoft.com/office/drawing/2014/main" id="{16EC7560-5D50-F148-97CD-2105EABEF62D}"/>
                </a:ext>
              </a:extLst>
            </p:cNvPr>
            <p:cNvGrpSpPr/>
            <p:nvPr/>
          </p:nvGrpSpPr>
          <p:grpSpPr>
            <a:xfrm>
              <a:off x="7066061" y="5465350"/>
              <a:ext cx="4016164" cy="830997"/>
              <a:chOff x="6942407" y="5465350"/>
              <a:chExt cx="4016164" cy="830997"/>
            </a:xfrm>
          </p:grpSpPr>
          <p:sp>
            <p:nvSpPr>
              <p:cNvPr id="10" name="CuadroTexto 9">
                <a:extLst>
                  <a:ext uri="{FF2B5EF4-FFF2-40B4-BE49-F238E27FC236}">
                    <a16:creationId xmlns:a16="http://schemas.microsoft.com/office/drawing/2014/main" id="{19703828-6E41-1C4F-8004-8CD681CB3776}"/>
                  </a:ext>
                </a:extLst>
              </p:cNvPr>
              <p:cNvSpPr txBox="1"/>
              <p:nvPr/>
            </p:nvSpPr>
            <p:spPr>
              <a:xfrm>
                <a:off x="6942407" y="5526905"/>
                <a:ext cx="2459328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ACHECON NA</a:t>
                </a:r>
              </a:p>
              <a:p>
                <a:r>
                  <a:rPr lang="es-ES_tradnl" sz="20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pt</a:t>
                </a:r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28th – Oct. 2nd</a:t>
                </a:r>
              </a:p>
            </p:txBody>
          </p:sp>
          <p:sp>
            <p:nvSpPr>
              <p:cNvPr id="11" name="CuadroTexto 10">
                <a:extLst>
                  <a:ext uri="{FF2B5EF4-FFF2-40B4-BE49-F238E27FC236}">
                    <a16:creationId xmlns:a16="http://schemas.microsoft.com/office/drawing/2014/main" id="{BA549DDE-17A6-3649-BB8B-E8C9B279B1B3}"/>
                  </a:ext>
                </a:extLst>
              </p:cNvPr>
              <p:cNvSpPr txBox="1"/>
              <p:nvPr/>
            </p:nvSpPr>
            <p:spPr>
              <a:xfrm>
                <a:off x="9401735" y="5465350"/>
                <a:ext cx="1556836" cy="8309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48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20</a:t>
                </a:r>
              </a:p>
            </p:txBody>
          </p:sp>
        </p:grpSp>
      </p:grpSp>
      <p:sp>
        <p:nvSpPr>
          <p:cNvPr id="12" name="Rectángulo 11">
            <a:extLst>
              <a:ext uri="{FF2B5EF4-FFF2-40B4-BE49-F238E27FC236}">
                <a16:creationId xmlns:a16="http://schemas.microsoft.com/office/drawing/2014/main" id="{9AE9BF05-DF93-1946-A761-A66B394AE1C3}"/>
              </a:ext>
            </a:extLst>
          </p:cNvPr>
          <p:cNvSpPr/>
          <p:nvPr userDrawn="1"/>
        </p:nvSpPr>
        <p:spPr>
          <a:xfrm>
            <a:off x="3559804" y="2229678"/>
            <a:ext cx="5072393" cy="2398644"/>
          </a:xfrm>
          <a:prstGeom prst="rect">
            <a:avLst/>
          </a:prstGeom>
          <a:solidFill>
            <a:srgbClr val="00206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A12AA299-8B4D-AE4E-88DA-AF5DB95C12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64262" y="2521295"/>
            <a:ext cx="4263475" cy="978729"/>
          </a:xfrm>
        </p:spPr>
        <p:txBody>
          <a:bodyPr wrap="square" lIns="90000" anchor="b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AR" sz="3200" b="0" i="0" smtClean="0">
                <a:effectLst/>
              </a:defRPr>
            </a:lvl1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This is where your talk title goes</a:t>
            </a:r>
          </a:p>
        </p:txBody>
      </p:sp>
      <p:sp>
        <p:nvSpPr>
          <p:cNvPr id="14" name="Subtítulo 2">
            <a:extLst>
              <a:ext uri="{FF2B5EF4-FFF2-40B4-BE49-F238E27FC236}">
                <a16:creationId xmlns:a16="http://schemas.microsoft.com/office/drawing/2014/main" id="{8FF8E933-50DE-5D45-95C2-11D8050386C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64262" y="3737871"/>
            <a:ext cx="4263475" cy="535531"/>
          </a:xfrm>
        </p:spPr>
        <p:txBody>
          <a:bodyPr wrap="square" lIns="90000">
            <a:spAutoFit/>
          </a:bodyPr>
          <a:lstStyle>
            <a:lvl1pPr marL="0" indent="0" algn="ctr">
              <a:buNone/>
              <a:defRPr lang="es-AR" sz="3200" b="0" i="0" smtClean="0">
                <a:effectLst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Your name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4C18AF29-4A67-D046-A8D7-2CCFEF13450B}"/>
              </a:ext>
            </a:extLst>
          </p:cNvPr>
          <p:cNvCxnSpPr>
            <a:cxnSpLocks/>
          </p:cNvCxnSpPr>
          <p:nvPr userDrawn="1"/>
        </p:nvCxnSpPr>
        <p:spPr>
          <a:xfrm flipH="1">
            <a:off x="3964262" y="3618948"/>
            <a:ext cx="4263475" cy="0"/>
          </a:xfrm>
          <a:prstGeom prst="line">
            <a:avLst/>
          </a:prstGeom>
          <a:ln w="28575">
            <a:solidFill>
              <a:srgbClr val="E6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83468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to 18" hidden="1">
            <a:extLst>
              <a:ext uri="{FF2B5EF4-FFF2-40B4-BE49-F238E27FC236}">
                <a16:creationId xmlns:a16="http://schemas.microsoft.com/office/drawing/2014/main" id="{9E1A3BE1-39F7-A440-8CA8-B4303ABF45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4613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Imagen 17">
            <a:extLst>
              <a:ext uri="{FF2B5EF4-FFF2-40B4-BE49-F238E27FC236}">
                <a16:creationId xmlns:a16="http://schemas.microsoft.com/office/drawing/2014/main" id="{7C99E719-81D9-024D-B6A8-DC8EA2B5B7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846" b="7859"/>
          <a:stretch/>
        </p:blipFill>
        <p:spPr>
          <a:xfrm>
            <a:off x="1592" y="-1"/>
            <a:ext cx="12190408" cy="6858001"/>
          </a:xfrm>
          <a:prstGeom prst="rect">
            <a:avLst/>
          </a:prstGeom>
        </p:spPr>
      </p:pic>
      <p:grpSp>
        <p:nvGrpSpPr>
          <p:cNvPr id="8" name="Grupo 7">
            <a:extLst>
              <a:ext uri="{FF2B5EF4-FFF2-40B4-BE49-F238E27FC236}">
                <a16:creationId xmlns:a16="http://schemas.microsoft.com/office/drawing/2014/main" id="{BAB803EE-60C3-E745-A188-6DDFEF37F70E}"/>
              </a:ext>
            </a:extLst>
          </p:cNvPr>
          <p:cNvGrpSpPr/>
          <p:nvPr userDrawn="1"/>
        </p:nvGrpSpPr>
        <p:grpSpPr>
          <a:xfrm>
            <a:off x="6379217" y="5360895"/>
            <a:ext cx="4263475" cy="1039906"/>
            <a:chOff x="6942406" y="5360895"/>
            <a:chExt cx="4263475" cy="1039906"/>
          </a:xfrm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2B016001-2D39-7049-A264-7D629981BABF}"/>
                </a:ext>
              </a:extLst>
            </p:cNvPr>
            <p:cNvSpPr/>
            <p:nvPr/>
          </p:nvSpPr>
          <p:spPr>
            <a:xfrm>
              <a:off x="6942406" y="5360895"/>
              <a:ext cx="4263475" cy="1039906"/>
            </a:xfrm>
            <a:prstGeom prst="rect">
              <a:avLst/>
            </a:prstGeom>
            <a:solidFill>
              <a:srgbClr val="BA61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" name="Grupo 9">
              <a:extLst>
                <a:ext uri="{FF2B5EF4-FFF2-40B4-BE49-F238E27FC236}">
                  <a16:creationId xmlns:a16="http://schemas.microsoft.com/office/drawing/2014/main" id="{6380F155-6FA9-B947-82C4-B87C71585D3D}"/>
                </a:ext>
              </a:extLst>
            </p:cNvPr>
            <p:cNvGrpSpPr/>
            <p:nvPr/>
          </p:nvGrpSpPr>
          <p:grpSpPr>
            <a:xfrm>
              <a:off x="7066061" y="5465350"/>
              <a:ext cx="4016164" cy="830997"/>
              <a:chOff x="6942407" y="5465350"/>
              <a:chExt cx="4016164" cy="830997"/>
            </a:xfrm>
          </p:grpSpPr>
          <p:sp>
            <p:nvSpPr>
              <p:cNvPr id="11" name="CuadroTexto 10">
                <a:extLst>
                  <a:ext uri="{FF2B5EF4-FFF2-40B4-BE49-F238E27FC236}">
                    <a16:creationId xmlns:a16="http://schemas.microsoft.com/office/drawing/2014/main" id="{020390EB-61D1-6742-954B-B1126261D37A}"/>
                  </a:ext>
                </a:extLst>
              </p:cNvPr>
              <p:cNvSpPr txBox="1"/>
              <p:nvPr/>
            </p:nvSpPr>
            <p:spPr>
              <a:xfrm>
                <a:off x="6942407" y="5526905"/>
                <a:ext cx="2459328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ACHECON NA</a:t>
                </a:r>
              </a:p>
              <a:p>
                <a:r>
                  <a:rPr lang="es-ES_tradnl" sz="20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pt</a:t>
                </a:r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28th – Oct. 2nd</a:t>
                </a:r>
              </a:p>
            </p:txBody>
          </p:sp>
          <p:sp>
            <p:nvSpPr>
              <p:cNvPr id="12" name="CuadroTexto 11">
                <a:extLst>
                  <a:ext uri="{FF2B5EF4-FFF2-40B4-BE49-F238E27FC236}">
                    <a16:creationId xmlns:a16="http://schemas.microsoft.com/office/drawing/2014/main" id="{C9F0AB46-353B-504C-AE0D-16219AA3C342}"/>
                  </a:ext>
                </a:extLst>
              </p:cNvPr>
              <p:cNvSpPr txBox="1"/>
              <p:nvPr/>
            </p:nvSpPr>
            <p:spPr>
              <a:xfrm>
                <a:off x="9401735" y="5465350"/>
                <a:ext cx="1556836" cy="8309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48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20</a:t>
                </a:r>
              </a:p>
            </p:txBody>
          </p:sp>
        </p:grpSp>
      </p:grpSp>
      <p:sp>
        <p:nvSpPr>
          <p:cNvPr id="13" name="Rectángulo 12">
            <a:extLst>
              <a:ext uri="{FF2B5EF4-FFF2-40B4-BE49-F238E27FC236}">
                <a16:creationId xmlns:a16="http://schemas.microsoft.com/office/drawing/2014/main" id="{1FC87505-44BE-6A45-A0C6-2E1D02E95C65}"/>
              </a:ext>
            </a:extLst>
          </p:cNvPr>
          <p:cNvSpPr/>
          <p:nvPr userDrawn="1"/>
        </p:nvSpPr>
        <p:spPr>
          <a:xfrm>
            <a:off x="3559804" y="2229678"/>
            <a:ext cx="5072393" cy="2398644"/>
          </a:xfrm>
          <a:prstGeom prst="rect">
            <a:avLst/>
          </a:prstGeom>
          <a:solidFill>
            <a:srgbClr val="00206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679FEAB7-B5C3-5E4D-B42C-FD1A015A9A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64262" y="2521295"/>
            <a:ext cx="4263475" cy="978729"/>
          </a:xfrm>
        </p:spPr>
        <p:txBody>
          <a:bodyPr wrap="square" lIns="90000" anchor="b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AR" sz="3200" b="0" i="0" smtClean="0">
                <a:effectLst/>
              </a:defRPr>
            </a:lvl1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This is where your talk title goes</a:t>
            </a:r>
          </a:p>
        </p:txBody>
      </p:sp>
      <p:sp>
        <p:nvSpPr>
          <p:cNvPr id="15" name="Subtítulo 2">
            <a:extLst>
              <a:ext uri="{FF2B5EF4-FFF2-40B4-BE49-F238E27FC236}">
                <a16:creationId xmlns:a16="http://schemas.microsoft.com/office/drawing/2014/main" id="{D3AFAB4A-B585-284D-879D-44C958E89D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64262" y="3737871"/>
            <a:ext cx="4263475" cy="535531"/>
          </a:xfrm>
        </p:spPr>
        <p:txBody>
          <a:bodyPr wrap="square" lIns="90000">
            <a:spAutoFit/>
          </a:bodyPr>
          <a:lstStyle>
            <a:lvl1pPr marL="0" indent="0" algn="ctr">
              <a:buNone/>
              <a:defRPr lang="es-AR" sz="3200" b="0" i="0" smtClean="0">
                <a:effectLst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Your name</a:t>
            </a:r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70674C3E-1E72-0F4B-AC0E-CA64CA5E3778}"/>
              </a:ext>
            </a:extLst>
          </p:cNvPr>
          <p:cNvCxnSpPr>
            <a:cxnSpLocks/>
          </p:cNvCxnSpPr>
          <p:nvPr userDrawn="1"/>
        </p:nvCxnSpPr>
        <p:spPr>
          <a:xfrm flipH="1">
            <a:off x="3964262" y="3618948"/>
            <a:ext cx="4263475" cy="0"/>
          </a:xfrm>
          <a:prstGeom prst="line">
            <a:avLst/>
          </a:prstGeom>
          <a:ln w="28575">
            <a:solidFill>
              <a:srgbClr val="E6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79643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to 20" hidden="1">
            <a:extLst>
              <a:ext uri="{FF2B5EF4-FFF2-40B4-BE49-F238E27FC236}">
                <a16:creationId xmlns:a16="http://schemas.microsoft.com/office/drawing/2014/main" id="{A958065F-E658-C648-AA28-EBB1AD2B9F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157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Imagen 19">
            <a:extLst>
              <a:ext uri="{FF2B5EF4-FFF2-40B4-BE49-F238E27FC236}">
                <a16:creationId xmlns:a16="http://schemas.microsoft.com/office/drawing/2014/main" id="{9BCF0053-4259-604D-BAC3-1220711733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812" b="78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0" name="Grupo 9">
            <a:extLst>
              <a:ext uri="{FF2B5EF4-FFF2-40B4-BE49-F238E27FC236}">
                <a16:creationId xmlns:a16="http://schemas.microsoft.com/office/drawing/2014/main" id="{C1C46358-AA10-E646-AC93-AD77FE59892B}"/>
              </a:ext>
            </a:extLst>
          </p:cNvPr>
          <p:cNvGrpSpPr/>
          <p:nvPr userDrawn="1"/>
        </p:nvGrpSpPr>
        <p:grpSpPr>
          <a:xfrm>
            <a:off x="6379217" y="5360895"/>
            <a:ext cx="4263475" cy="1039906"/>
            <a:chOff x="6942406" y="5360895"/>
            <a:chExt cx="4263475" cy="1039906"/>
          </a:xfrm>
        </p:grpSpPr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B3DC4668-8871-CB43-A252-44C3F6A74E3B}"/>
                </a:ext>
              </a:extLst>
            </p:cNvPr>
            <p:cNvSpPr/>
            <p:nvPr/>
          </p:nvSpPr>
          <p:spPr>
            <a:xfrm>
              <a:off x="6942406" y="5360895"/>
              <a:ext cx="4263475" cy="1039906"/>
            </a:xfrm>
            <a:prstGeom prst="rect">
              <a:avLst/>
            </a:prstGeom>
            <a:solidFill>
              <a:srgbClr val="BA61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F665678C-70D0-EB41-8FCC-196857DB7775}"/>
                </a:ext>
              </a:extLst>
            </p:cNvPr>
            <p:cNvGrpSpPr/>
            <p:nvPr/>
          </p:nvGrpSpPr>
          <p:grpSpPr>
            <a:xfrm>
              <a:off x="7066061" y="5465350"/>
              <a:ext cx="4016164" cy="830997"/>
              <a:chOff x="6942407" y="5465350"/>
              <a:chExt cx="4016164" cy="830997"/>
            </a:xfrm>
          </p:grpSpPr>
          <p:sp>
            <p:nvSpPr>
              <p:cNvPr id="13" name="CuadroTexto 12">
                <a:extLst>
                  <a:ext uri="{FF2B5EF4-FFF2-40B4-BE49-F238E27FC236}">
                    <a16:creationId xmlns:a16="http://schemas.microsoft.com/office/drawing/2014/main" id="{EFAFCEE1-C442-DB4D-A6C3-A7682D4BD7BC}"/>
                  </a:ext>
                </a:extLst>
              </p:cNvPr>
              <p:cNvSpPr txBox="1"/>
              <p:nvPr/>
            </p:nvSpPr>
            <p:spPr>
              <a:xfrm>
                <a:off x="6942407" y="5526905"/>
                <a:ext cx="2459328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ACHECON NA</a:t>
                </a:r>
              </a:p>
              <a:p>
                <a:r>
                  <a:rPr lang="es-ES_tradnl" sz="20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pt</a:t>
                </a:r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28th – Oct. 2nd</a:t>
                </a:r>
              </a:p>
            </p:txBody>
          </p:sp>
          <p:sp>
            <p:nvSpPr>
              <p:cNvPr id="14" name="CuadroTexto 13">
                <a:extLst>
                  <a:ext uri="{FF2B5EF4-FFF2-40B4-BE49-F238E27FC236}">
                    <a16:creationId xmlns:a16="http://schemas.microsoft.com/office/drawing/2014/main" id="{65ED3A85-C6F0-594C-B602-7C60F1E3BE3F}"/>
                  </a:ext>
                </a:extLst>
              </p:cNvPr>
              <p:cNvSpPr txBox="1"/>
              <p:nvPr/>
            </p:nvSpPr>
            <p:spPr>
              <a:xfrm>
                <a:off x="9401735" y="5465350"/>
                <a:ext cx="1556836" cy="8309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48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20</a:t>
                </a:r>
              </a:p>
            </p:txBody>
          </p:sp>
        </p:grpSp>
      </p:grpSp>
      <p:sp>
        <p:nvSpPr>
          <p:cNvPr id="15" name="Rectángulo 14">
            <a:extLst>
              <a:ext uri="{FF2B5EF4-FFF2-40B4-BE49-F238E27FC236}">
                <a16:creationId xmlns:a16="http://schemas.microsoft.com/office/drawing/2014/main" id="{AB727698-FFDB-A148-BC0D-C643ACE43353}"/>
              </a:ext>
            </a:extLst>
          </p:cNvPr>
          <p:cNvSpPr/>
          <p:nvPr userDrawn="1"/>
        </p:nvSpPr>
        <p:spPr>
          <a:xfrm>
            <a:off x="3559804" y="2229678"/>
            <a:ext cx="5072393" cy="2398644"/>
          </a:xfrm>
          <a:prstGeom prst="rect">
            <a:avLst/>
          </a:prstGeom>
          <a:solidFill>
            <a:srgbClr val="00206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48D64256-1EAF-E94D-8C5C-6FC23D7C7E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64262" y="2521295"/>
            <a:ext cx="4263475" cy="978729"/>
          </a:xfrm>
        </p:spPr>
        <p:txBody>
          <a:bodyPr wrap="square" lIns="90000" anchor="b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AR" sz="3200" b="0" i="0" smtClean="0">
                <a:effectLst/>
              </a:defRPr>
            </a:lvl1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This is where your talk title goes</a:t>
            </a:r>
          </a:p>
        </p:txBody>
      </p:sp>
      <p:sp>
        <p:nvSpPr>
          <p:cNvPr id="17" name="Subtítulo 2">
            <a:extLst>
              <a:ext uri="{FF2B5EF4-FFF2-40B4-BE49-F238E27FC236}">
                <a16:creationId xmlns:a16="http://schemas.microsoft.com/office/drawing/2014/main" id="{A44C7E8E-B0FF-4D4C-B221-7245BF6E20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64262" y="3737871"/>
            <a:ext cx="4263475" cy="535531"/>
          </a:xfrm>
        </p:spPr>
        <p:txBody>
          <a:bodyPr wrap="square" lIns="90000">
            <a:spAutoFit/>
          </a:bodyPr>
          <a:lstStyle>
            <a:lvl1pPr marL="0" indent="0" algn="ctr">
              <a:buNone/>
              <a:defRPr lang="es-AR" sz="3200" b="0" i="0" smtClean="0">
                <a:effectLst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Your name</a:t>
            </a: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AB8BA5C6-364D-E946-B2D3-83FADD9F1C9B}"/>
              </a:ext>
            </a:extLst>
          </p:cNvPr>
          <p:cNvCxnSpPr>
            <a:cxnSpLocks/>
          </p:cNvCxnSpPr>
          <p:nvPr userDrawn="1"/>
        </p:nvCxnSpPr>
        <p:spPr>
          <a:xfrm flipH="1">
            <a:off x="3964262" y="3618948"/>
            <a:ext cx="4263475" cy="0"/>
          </a:xfrm>
          <a:prstGeom prst="line">
            <a:avLst/>
          </a:prstGeom>
          <a:ln w="28575">
            <a:solidFill>
              <a:srgbClr val="E6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114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76D8FE4-1296-4743-9469-7AC368D097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52792"/>
          </a:xfrm>
        </p:spPr>
        <p:txBody>
          <a:bodyPr/>
          <a:lstStyle>
            <a:lvl1pPr algn="ctr">
              <a:defRPr lang="es-AR" b="0" i="0" smtClean="0">
                <a:effectLst/>
              </a:defRPr>
            </a:lvl1pPr>
          </a:lstStyle>
          <a:p>
            <a:r>
              <a:rPr lang="es-AR" b="1" i="0" dirty="0">
                <a:solidFill>
                  <a:srgbClr val="000000"/>
                </a:solidFill>
                <a:effectLst/>
                <a:latin typeface="Futura" panose="020B0602020204020303" pitchFamily="34" charset="-79"/>
                <a:cs typeface="Futura" panose="020B0602020204020303" pitchFamily="34" charset="-79"/>
              </a:rPr>
              <a:t>Simple Slide</a:t>
            </a:r>
            <a:endParaRPr lang="es-AR" b="0" i="0" dirty="0">
              <a:solidFill>
                <a:srgbClr val="222222"/>
              </a:solidFill>
              <a:effectLst/>
              <a:latin typeface="Montserrat"/>
            </a:endParaRPr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C840CD60-CA44-A34F-AFEE-ADBF385E15E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050576"/>
            <a:ext cx="10515599" cy="4873625"/>
          </a:xfrm>
        </p:spPr>
        <p:txBody>
          <a:bodyPr/>
          <a:lstStyle>
            <a:lvl1pPr marL="5113338" indent="-239713" algn="l">
              <a:lnSpc>
                <a:spcPct val="150000"/>
              </a:lnSpc>
              <a:buFont typeface="Arial" panose="020B0604020202020204" pitchFamily="34" charset="0"/>
              <a:buChar char="•"/>
              <a:tabLst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marL="5113338" indent="-239713" algn="l">
              <a:lnSpc>
                <a:spcPct val="150000"/>
              </a:lnSpc>
              <a:buFont typeface="Arial" panose="020B0604020202020204" pitchFamily="34" charset="0"/>
              <a:buChar char="•"/>
              <a:tabLst/>
            </a:pPr>
            <a:r>
              <a:rPr lang="es-AR" sz="3200" dirty="0">
                <a:effectLst/>
              </a:rPr>
              <a:t>one</a:t>
            </a:r>
          </a:p>
          <a:p>
            <a:pPr marL="5113338" indent="-239713" algn="l">
              <a:lnSpc>
                <a:spcPct val="150000"/>
              </a:lnSpc>
              <a:buFont typeface="Arial" panose="020B0604020202020204" pitchFamily="34" charset="0"/>
              <a:buChar char="•"/>
              <a:tabLst/>
            </a:pPr>
            <a:r>
              <a:rPr lang="es-AR" sz="3200" dirty="0">
                <a:effectLst/>
              </a:rPr>
              <a:t>two</a:t>
            </a:r>
          </a:p>
          <a:p>
            <a:pPr marL="5113338" indent="-239713" algn="l">
              <a:lnSpc>
                <a:spcPct val="150000"/>
              </a:lnSpc>
              <a:buFont typeface="Arial" panose="020B0604020202020204" pitchFamily="34" charset="0"/>
              <a:buChar char="•"/>
              <a:tabLst/>
            </a:pPr>
            <a:r>
              <a:rPr lang="es-AR" sz="3200" dirty="0">
                <a:effectLst/>
              </a:rPr>
              <a:t>three</a:t>
            </a:r>
            <a:endParaRPr lang="es-ES_tradnl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CB0FA8F3-FFE0-9F4D-9C55-BFC5B8D40B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359" b="23068"/>
          <a:stretch/>
        </p:blipFill>
        <p:spPr>
          <a:xfrm>
            <a:off x="9591768" y="6045177"/>
            <a:ext cx="1762031" cy="599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8039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813D56FB-947C-FF44-94BB-976ECAC35E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6759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0B10AD59-6684-464C-BDD6-EC8DD81031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050577"/>
            <a:ext cx="10515599" cy="3586738"/>
          </a:xfrm>
        </p:spPr>
        <p:txBody>
          <a:bodyPr/>
          <a:lstStyle>
            <a:lvl1pPr marL="5113338" indent="-239713" algn="l">
              <a:lnSpc>
                <a:spcPct val="150000"/>
              </a:lnSpc>
              <a:buFont typeface="Arial" panose="020B0604020202020204" pitchFamily="34" charset="0"/>
              <a:buChar char="•"/>
              <a:tabLst/>
              <a:defRPr sz="3200"/>
            </a:lvl1pPr>
            <a:lvl2pPr marL="5788025" indent="-457200" algn="l">
              <a:lnSpc>
                <a:spcPct val="150000"/>
              </a:lnSpc>
              <a:buFont typeface="Wingdings" pitchFamily="2" charset="2"/>
              <a:buChar char="§"/>
              <a:tabLst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marL="5113338" indent="-239713" algn="l">
              <a:lnSpc>
                <a:spcPct val="150000"/>
              </a:lnSpc>
              <a:buFont typeface="Arial" panose="020B0604020202020204" pitchFamily="34" charset="0"/>
              <a:buChar char="•"/>
              <a:tabLst/>
            </a:pPr>
            <a:r>
              <a:rPr lang="es-AR" sz="2800" dirty="0">
                <a:effectLst/>
              </a:rPr>
              <a:t>One</a:t>
            </a:r>
          </a:p>
          <a:p>
            <a:pPr marL="5788025" lvl="1" indent="-457200" algn="l">
              <a:lnSpc>
                <a:spcPct val="150000"/>
              </a:lnSpc>
              <a:buFont typeface="Wingdings" pitchFamily="2" charset="2"/>
              <a:buChar char="§"/>
              <a:tabLst/>
            </a:pPr>
            <a:r>
              <a:rPr lang="es-AR" sz="2800" dirty="0">
                <a:effectLst/>
              </a:rPr>
              <a:t>and this</a:t>
            </a:r>
          </a:p>
          <a:p>
            <a:pPr marL="5788025" lvl="1" indent="-457200" algn="l">
              <a:lnSpc>
                <a:spcPct val="150000"/>
              </a:lnSpc>
              <a:buFont typeface="Wingdings" pitchFamily="2" charset="2"/>
              <a:buChar char="§"/>
              <a:tabLst/>
            </a:pPr>
            <a:r>
              <a:rPr lang="es-AR" sz="2800" dirty="0">
                <a:effectLst/>
              </a:rPr>
              <a:t>and more</a:t>
            </a:r>
          </a:p>
          <a:p>
            <a:pPr marL="5113338" indent="-239713" algn="l">
              <a:lnSpc>
                <a:spcPct val="150000"/>
              </a:lnSpc>
              <a:buFont typeface="Arial" panose="020B0604020202020204" pitchFamily="34" charset="0"/>
              <a:buChar char="•"/>
              <a:tabLst/>
            </a:pPr>
            <a:r>
              <a:rPr lang="es-AR" sz="2800" dirty="0">
                <a:effectLst/>
              </a:rPr>
              <a:t>two</a:t>
            </a:r>
          </a:p>
          <a:p>
            <a:pPr marL="5113338" indent="-239713" algn="l">
              <a:lnSpc>
                <a:spcPct val="150000"/>
              </a:lnSpc>
              <a:buFont typeface="Arial" panose="020B0604020202020204" pitchFamily="34" charset="0"/>
              <a:buChar char="•"/>
              <a:tabLst/>
            </a:pPr>
            <a:r>
              <a:rPr lang="es-AR" sz="2800" dirty="0">
                <a:effectLst/>
              </a:rPr>
              <a:t>three</a:t>
            </a:r>
            <a:endParaRPr lang="es-ES_tradnl" dirty="0"/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F28898C4-01BC-E54D-8CEE-73DEE91D5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52792"/>
          </a:xfrm>
        </p:spPr>
        <p:txBody>
          <a:bodyPr/>
          <a:lstStyle>
            <a:lvl1pPr algn="ctr">
              <a:defRPr lang="es-AR" b="0" i="0" smtClean="0">
                <a:effectLst/>
              </a:defRPr>
            </a:lvl1pPr>
          </a:lstStyle>
          <a:p>
            <a:r>
              <a:rPr lang="es-AR" b="1" i="0" dirty="0">
                <a:solidFill>
                  <a:srgbClr val="000000"/>
                </a:solidFill>
                <a:effectLst/>
                <a:latin typeface="Futura" panose="020B0602020204020303" pitchFamily="34" charset="-79"/>
                <a:cs typeface="Futura" panose="020B0602020204020303" pitchFamily="34" charset="-79"/>
              </a:rPr>
              <a:t>Simple Slide</a:t>
            </a:r>
            <a:endParaRPr lang="es-AR" b="0" i="0" dirty="0">
              <a:solidFill>
                <a:srgbClr val="222222"/>
              </a:solidFill>
              <a:effectLst/>
              <a:latin typeface="Montserrat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286E667A-E8EE-344A-9C5E-C6ACDA88EB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19359" b="23068"/>
          <a:stretch/>
        </p:blipFill>
        <p:spPr>
          <a:xfrm>
            <a:off x="9591768" y="6045177"/>
            <a:ext cx="1762031" cy="599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8135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>
            <a:extLst>
              <a:ext uri="{FF2B5EF4-FFF2-40B4-BE49-F238E27FC236}">
                <a16:creationId xmlns:a16="http://schemas.microsoft.com/office/drawing/2014/main" id="{BED689FF-E7FD-744E-B279-BCA3007D24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52792"/>
          </a:xfrm>
        </p:spPr>
        <p:txBody>
          <a:bodyPr/>
          <a:lstStyle>
            <a:lvl1pPr algn="ctr">
              <a:defRPr lang="es-AR" b="0" i="0" smtClean="0">
                <a:effectLst/>
              </a:defRPr>
            </a:lvl1pPr>
          </a:lstStyle>
          <a:p>
            <a:r>
              <a:rPr lang="es-AR" b="1" i="0" dirty="0">
                <a:solidFill>
                  <a:srgbClr val="000000"/>
                </a:solidFill>
                <a:effectLst/>
                <a:latin typeface="Futura" panose="020B0602020204020303" pitchFamily="34" charset="-79"/>
                <a:cs typeface="Futura" panose="020B0602020204020303" pitchFamily="34" charset="-79"/>
              </a:rPr>
              <a:t>Simple Slide</a:t>
            </a:r>
            <a:endParaRPr lang="es-AR" b="0" i="0" dirty="0">
              <a:solidFill>
                <a:srgbClr val="222222"/>
              </a:solidFill>
              <a:effectLst/>
              <a:latin typeface="Montserrat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0AC1A27A-5A22-2245-AED2-5F69CA232B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359" b="23068"/>
          <a:stretch/>
        </p:blipFill>
        <p:spPr>
          <a:xfrm>
            <a:off x="9591768" y="6045177"/>
            <a:ext cx="1762031" cy="599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9429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F15556CB-C3AA-B049-AB63-E79AA47B4E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14086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Diapositiva de think-cell" r:id="rId13" imgW="7772400" imgH="10058400" progId="TCLayout.ActiveDocument.1">
                  <p:embed/>
                </p:oleObj>
              </mc:Choice>
              <mc:Fallback>
                <p:oleObj name="Diapositiva de think-cell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217F4282-E836-0A49-937F-543AD0325CD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D7DE74B5-80C7-BA4E-B8CE-9CEAE7E30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156B2FB-2193-9240-8DEB-B5CDB9AF4B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D3595A9-CC1E-4649-A6DA-5F3B9D8DC7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41F4C1-841F-6042-BB70-CB091A271F27}" type="datetimeFigureOut">
              <a:rPr lang="es-ES_tradnl" smtClean="0"/>
              <a:t>11/9/20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A86F37E-0367-9743-BC8B-05EF6D3215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173A8EE-A184-DB4C-B42C-3E4740D388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AEE1B0-F4C7-FB4A-9C79-72ABC3B80FA2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04127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67EB12D-B740-584B-9E22-F41C6DD8EA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80172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60EF2E5F-97CE-B24C-8472-2FFEA61E26F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ES_tradnl" dirty="0">
              <a:solidFill>
                <a:schemeClr val="bg1"/>
              </a:solidFill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29DED28-BF27-5F47-BF5B-B566C70CD46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ES_tradnl">
              <a:solidFill>
                <a:schemeClr val="bg1"/>
              </a:solidFill>
            </a:endParaRP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226D5E62-BEFA-1141-9B55-ACB58D49883E}"/>
              </a:ext>
            </a:extLst>
          </p:cNvPr>
          <p:cNvGrpSpPr/>
          <p:nvPr/>
        </p:nvGrpSpPr>
        <p:grpSpPr>
          <a:xfrm>
            <a:off x="5830957" y="5360895"/>
            <a:ext cx="5522843" cy="1039906"/>
            <a:chOff x="6394146" y="5360895"/>
            <a:chExt cx="5522843" cy="1039906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FD4A5BCE-8397-8C4D-8422-7986C040067D}"/>
                </a:ext>
              </a:extLst>
            </p:cNvPr>
            <p:cNvSpPr/>
            <p:nvPr/>
          </p:nvSpPr>
          <p:spPr>
            <a:xfrm>
              <a:off x="6394146" y="5360895"/>
              <a:ext cx="5522843" cy="1039906"/>
            </a:xfrm>
            <a:prstGeom prst="rect">
              <a:avLst/>
            </a:prstGeom>
            <a:solidFill>
              <a:srgbClr val="BA61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" name="Grupo 8">
              <a:extLst>
                <a:ext uri="{FF2B5EF4-FFF2-40B4-BE49-F238E27FC236}">
                  <a16:creationId xmlns:a16="http://schemas.microsoft.com/office/drawing/2014/main" id="{761641D1-B1E7-9F43-8F58-D94C14E65F3F}"/>
                </a:ext>
              </a:extLst>
            </p:cNvPr>
            <p:cNvGrpSpPr/>
            <p:nvPr/>
          </p:nvGrpSpPr>
          <p:grpSpPr>
            <a:xfrm>
              <a:off x="6730104" y="5465350"/>
              <a:ext cx="4786727" cy="830997"/>
              <a:chOff x="6606450" y="5465350"/>
              <a:chExt cx="4786727" cy="830997"/>
            </a:xfrm>
          </p:grpSpPr>
          <p:sp>
            <p:nvSpPr>
              <p:cNvPr id="10" name="CuadroTexto 9">
                <a:extLst>
                  <a:ext uri="{FF2B5EF4-FFF2-40B4-BE49-F238E27FC236}">
                    <a16:creationId xmlns:a16="http://schemas.microsoft.com/office/drawing/2014/main" id="{548B2E1F-F5E3-7742-833A-8175D82CEF8F}"/>
                  </a:ext>
                </a:extLst>
              </p:cNvPr>
              <p:cNvSpPr txBox="1"/>
              <p:nvPr/>
            </p:nvSpPr>
            <p:spPr>
              <a:xfrm>
                <a:off x="6606450" y="5526905"/>
                <a:ext cx="2893934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ACHECON @HOME</a:t>
                </a:r>
              </a:p>
              <a:p>
                <a:r>
                  <a:rPr lang="es-ES_tradnl" sz="20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pt</a:t>
                </a:r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29th – Oct. 1st</a:t>
                </a:r>
              </a:p>
            </p:txBody>
          </p:sp>
          <p:sp>
            <p:nvSpPr>
              <p:cNvPr id="11" name="CuadroTexto 10">
                <a:extLst>
                  <a:ext uri="{FF2B5EF4-FFF2-40B4-BE49-F238E27FC236}">
                    <a16:creationId xmlns:a16="http://schemas.microsoft.com/office/drawing/2014/main" id="{DDF56B6D-C4DD-BE4A-8CE1-F46D48134D3E}"/>
                  </a:ext>
                </a:extLst>
              </p:cNvPr>
              <p:cNvSpPr txBox="1"/>
              <p:nvPr/>
            </p:nvSpPr>
            <p:spPr>
              <a:xfrm>
                <a:off x="9836341" y="5465350"/>
                <a:ext cx="1556836" cy="8309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48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2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59300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B9078EED-0FA4-2B45-B2BD-A5E8A4A4C6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8991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D56E0E0E-ED4D-5F41-89A7-6C9495806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s-ES_tradnl" b="1" dirty="0"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C74492E-8B97-DC49-B94C-B057EA648993}"/>
              </a:ext>
            </a:extLst>
          </p:cNvPr>
          <p:cNvSpPr txBox="1">
            <a:spLocks/>
          </p:cNvSpPr>
          <p:nvPr/>
        </p:nvSpPr>
        <p:spPr>
          <a:xfrm>
            <a:off x="838200" y="1050576"/>
            <a:ext cx="10514012" cy="38115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AR" sz="3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AR" dirty="0">
                <a:solidFill>
                  <a:srgbClr val="222222"/>
                </a:solidFill>
                <a:latin typeface="Montserrat"/>
              </a:rPr>
              <a:t>Text can be </a:t>
            </a:r>
            <a:r>
              <a:rPr lang="es-AR" b="1" dirty="0">
                <a:solidFill>
                  <a:srgbClr val="222222"/>
                </a:solidFill>
                <a:latin typeface="Montserrat"/>
              </a:rPr>
              <a:t>bold</a:t>
            </a:r>
            <a:r>
              <a:rPr lang="es-AR" dirty="0">
                <a:solidFill>
                  <a:srgbClr val="222222"/>
                </a:solidFill>
                <a:latin typeface="Montserrat"/>
              </a:rPr>
              <a:t>, </a:t>
            </a:r>
            <a:r>
              <a:rPr lang="es-AR" i="1" dirty="0">
                <a:solidFill>
                  <a:srgbClr val="222222"/>
                </a:solidFill>
                <a:latin typeface="Montserrat"/>
              </a:rPr>
              <a:t>italic</a:t>
            </a:r>
            <a:r>
              <a:rPr lang="es-AR" dirty="0">
                <a:solidFill>
                  <a:srgbClr val="222222"/>
                </a:solidFill>
                <a:latin typeface="Montserrat"/>
              </a:rPr>
              <a:t>, </a:t>
            </a:r>
            <a:r>
              <a:rPr lang="es-AR" sz="5400" dirty="0">
                <a:solidFill>
                  <a:srgbClr val="222222"/>
                </a:solidFill>
                <a:latin typeface="Montserrat"/>
              </a:rPr>
              <a:t>big</a:t>
            </a:r>
            <a:r>
              <a:rPr lang="es-AR" dirty="0">
                <a:solidFill>
                  <a:srgbClr val="222222"/>
                </a:solidFill>
                <a:latin typeface="Montserrat"/>
              </a:rPr>
              <a:t> or </a:t>
            </a:r>
            <a:r>
              <a:rPr lang="es-AR" sz="2000" dirty="0">
                <a:solidFill>
                  <a:srgbClr val="222222"/>
                </a:solidFill>
                <a:latin typeface="Montserrat"/>
              </a:rPr>
              <a:t>small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3808576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C5F735A-F5A2-C344-8D10-1D742D642B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195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29F9F67A-A6FA-CB42-8354-438423D2DE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64262" y="2964493"/>
            <a:ext cx="4263475" cy="535531"/>
          </a:xfrm>
        </p:spPr>
        <p:txBody>
          <a:bodyPr/>
          <a:lstStyle/>
          <a:p>
            <a:endParaRPr lang="es-ES_tradnl">
              <a:solidFill>
                <a:schemeClr val="bg1"/>
              </a:solidFill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2B63C34-4A82-694F-9938-8850C17ED34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ES_tradn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6297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D88385B-FAF5-124E-B1C6-D2470F70C4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3242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97AA0BCA-6A1C-5540-8EC4-119C69C6C5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64262" y="2964493"/>
            <a:ext cx="4263475" cy="535531"/>
          </a:xfrm>
        </p:spPr>
        <p:txBody>
          <a:bodyPr/>
          <a:lstStyle/>
          <a:p>
            <a:endParaRPr lang="es-ES_tradnl">
              <a:solidFill>
                <a:schemeClr val="bg1"/>
              </a:solidFill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AAC82CD-37C7-BC4B-89EB-C7AAE2B55CF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ES_tradn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874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C88B0D4-E550-0D44-9999-00739F15F0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5318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A35BAEA0-455B-D74C-A22E-9B9BA14926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64262" y="2964493"/>
            <a:ext cx="4263475" cy="535531"/>
          </a:xfrm>
        </p:spPr>
        <p:txBody>
          <a:bodyPr/>
          <a:lstStyle/>
          <a:p>
            <a:endParaRPr lang="es-ES_tradnl">
              <a:solidFill>
                <a:schemeClr val="bg1"/>
              </a:solidFill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6DAA7CA-B7FB-9140-AE2E-DC71237FB62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ES_tradn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28148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B9AE42D2-C689-FB48-A037-0A610427E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960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FE54A032-AC95-6D43-B6EF-C88F47C714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64262" y="2964493"/>
            <a:ext cx="4263475" cy="535531"/>
          </a:xfrm>
        </p:spPr>
        <p:txBody>
          <a:bodyPr/>
          <a:lstStyle/>
          <a:p>
            <a:endParaRPr lang="es-ES_tradnl">
              <a:solidFill>
                <a:schemeClr val="bg1"/>
              </a:solidFill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21FB46E-A49A-C246-A1B8-1B49816855C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ES_tradn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226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15B97AC9-AA2A-E846-B0E6-9CC4E1AB28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71650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53C165C2-F4C5-1849-BE54-4CBB9B10C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s-ES_tradnl" b="1" dirty="0"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60140BBE-B61F-4146-9F98-FED619B36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50577"/>
            <a:ext cx="10515599" cy="3570410"/>
          </a:xfrm>
        </p:spPr>
        <p:txBody>
          <a:bodyPr>
            <a:normAutofit/>
          </a:bodyPr>
          <a:lstStyle/>
          <a:p>
            <a:r>
              <a:rPr lang="es-AR" sz="2800" dirty="0">
                <a:effectLst/>
              </a:rPr>
              <a:t>One</a:t>
            </a:r>
          </a:p>
          <a:p>
            <a:r>
              <a:rPr lang="es-AR" sz="2800" dirty="0">
                <a:effectLst/>
              </a:rPr>
              <a:t>two</a:t>
            </a:r>
          </a:p>
          <a:p>
            <a:r>
              <a:rPr lang="es-AR" sz="2800" dirty="0">
                <a:effectLst/>
              </a:rPr>
              <a:t>thre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9493691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A11193E-B739-B444-A2F4-3B95335799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956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53CC666B-5B12-2F42-B8A2-6BFC0CD3D6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s-AR" sz="2800" dirty="0">
                <a:effectLst/>
              </a:rPr>
              <a:t>One</a:t>
            </a:r>
          </a:p>
          <a:p>
            <a:pPr lvl="1"/>
            <a:r>
              <a:rPr lang="es-AR" dirty="0"/>
              <a:t>and this</a:t>
            </a:r>
          </a:p>
          <a:p>
            <a:pPr lvl="1"/>
            <a:r>
              <a:rPr lang="es-AR" dirty="0"/>
              <a:t>and more</a:t>
            </a:r>
          </a:p>
          <a:p>
            <a:r>
              <a:rPr lang="es-AR" sz="2800" dirty="0">
                <a:effectLst/>
              </a:rPr>
              <a:t>two</a:t>
            </a:r>
          </a:p>
          <a:p>
            <a:r>
              <a:rPr lang="es-AR" sz="2800" dirty="0">
                <a:effectLst/>
              </a:rPr>
              <a:t>three</a:t>
            </a:r>
            <a:endParaRPr lang="es-ES_tradnl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F6ABC28-0B15-2640-99A8-ACBD5D0FB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s-ES_tradnl" b="1" dirty="0"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76386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A11193E-B739-B444-A2F4-3B95335799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A11193E-B739-B444-A2F4-3B9533579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53CC666B-5B12-2F42-B8A2-6BFC0CD3D6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050577"/>
            <a:ext cx="5023756" cy="3586738"/>
          </a:xfrm>
        </p:spPr>
        <p:txBody>
          <a:bodyPr>
            <a:normAutofit lnSpcReduction="10000"/>
          </a:bodyPr>
          <a:lstStyle/>
          <a:p>
            <a:pPr marL="260350" indent="-260350"/>
            <a:r>
              <a:rPr lang="es-AR" sz="2800" dirty="0">
                <a:effectLst/>
              </a:rPr>
              <a:t>One</a:t>
            </a:r>
          </a:p>
          <a:p>
            <a:pPr marL="846138" lvl="1" indent="-473075"/>
            <a:r>
              <a:rPr lang="es-AR" dirty="0"/>
              <a:t>and this</a:t>
            </a:r>
          </a:p>
          <a:p>
            <a:pPr marL="846138" lvl="1" indent="-473075"/>
            <a:r>
              <a:rPr lang="es-AR" dirty="0"/>
              <a:t>and more</a:t>
            </a:r>
          </a:p>
          <a:p>
            <a:pPr marL="260350" indent="-260350"/>
            <a:r>
              <a:rPr lang="es-AR" sz="2800" dirty="0">
                <a:effectLst/>
              </a:rPr>
              <a:t>two</a:t>
            </a:r>
          </a:p>
          <a:p>
            <a:pPr marL="260350" indent="-260350"/>
            <a:r>
              <a:rPr lang="es-AR" sz="2800" dirty="0">
                <a:effectLst/>
              </a:rPr>
              <a:t>three</a:t>
            </a:r>
            <a:endParaRPr lang="es-ES_tradnl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F6ABC28-0B15-2640-99A8-ACBD5D0FB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s-ES_tradnl" b="1" dirty="0"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5" name="Marcador de contenido 1">
            <a:extLst>
              <a:ext uri="{FF2B5EF4-FFF2-40B4-BE49-F238E27FC236}">
                <a16:creationId xmlns:a16="http://schemas.microsoft.com/office/drawing/2014/main" id="{6FA6BF7A-14E6-E045-A9F1-701765D3F6F0}"/>
              </a:ext>
            </a:extLst>
          </p:cNvPr>
          <p:cNvSpPr txBox="1">
            <a:spLocks/>
          </p:cNvSpPr>
          <p:nvPr/>
        </p:nvSpPr>
        <p:spPr>
          <a:xfrm>
            <a:off x="6330045" y="1050577"/>
            <a:ext cx="5023756" cy="358673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5113338" indent="-239713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88025" indent="-4572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Wingdings" pitchFamily="2" charset="2"/>
              <a:buChar char="§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0350" indent="-260350"/>
            <a:r>
              <a:rPr lang="es-AR" sz="2800"/>
              <a:t>One</a:t>
            </a:r>
          </a:p>
          <a:p>
            <a:pPr marL="846138" lvl="1" indent="-473075"/>
            <a:r>
              <a:rPr lang="es-AR"/>
              <a:t>and this</a:t>
            </a:r>
          </a:p>
          <a:p>
            <a:pPr marL="846138" lvl="1" indent="-473075"/>
            <a:r>
              <a:rPr lang="es-AR"/>
              <a:t>and more</a:t>
            </a:r>
          </a:p>
          <a:p>
            <a:pPr marL="260350" indent="-260350"/>
            <a:r>
              <a:rPr lang="es-AR" sz="2800"/>
              <a:t>two</a:t>
            </a:r>
          </a:p>
          <a:p>
            <a:pPr marL="260350" indent="-260350"/>
            <a:r>
              <a:rPr lang="es-AR" sz="2800"/>
              <a:t>thre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6114202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A11193E-B739-B444-A2F4-3B95335799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A11193E-B739-B444-A2F4-3B9533579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53CC666B-5B12-2F42-B8A2-6BFC0CD3D6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050577"/>
            <a:ext cx="5023756" cy="3586738"/>
          </a:xfrm>
        </p:spPr>
        <p:txBody>
          <a:bodyPr>
            <a:normAutofit lnSpcReduction="10000"/>
          </a:bodyPr>
          <a:lstStyle/>
          <a:p>
            <a:pPr marL="260350" indent="-260350"/>
            <a:r>
              <a:rPr lang="es-AR" sz="2800" dirty="0">
                <a:effectLst/>
              </a:rPr>
              <a:t>One</a:t>
            </a:r>
          </a:p>
          <a:p>
            <a:pPr marL="846138" lvl="1" indent="-473075"/>
            <a:r>
              <a:rPr lang="es-AR" dirty="0"/>
              <a:t>and this</a:t>
            </a:r>
          </a:p>
          <a:p>
            <a:pPr marL="846138" lvl="1" indent="-473075"/>
            <a:r>
              <a:rPr lang="es-AR" dirty="0"/>
              <a:t>and more</a:t>
            </a:r>
          </a:p>
          <a:p>
            <a:pPr marL="260350" indent="-260350"/>
            <a:r>
              <a:rPr lang="es-AR" sz="2800" dirty="0">
                <a:effectLst/>
              </a:rPr>
              <a:t>two</a:t>
            </a:r>
          </a:p>
          <a:p>
            <a:pPr marL="260350" indent="-260350"/>
            <a:r>
              <a:rPr lang="es-AR" sz="2800" dirty="0">
                <a:effectLst/>
              </a:rPr>
              <a:t>three</a:t>
            </a:r>
            <a:endParaRPr lang="es-ES_tradnl" dirty="0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F6ABC28-0B15-2640-99A8-ACBD5D0FB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s-ES_tradnl" b="1" dirty="0"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5C25AF6-F61A-EB43-9ADE-ED9DD3EC8A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19359" b="23068"/>
          <a:stretch/>
        </p:blipFill>
        <p:spPr>
          <a:xfrm>
            <a:off x="6330046" y="1097453"/>
            <a:ext cx="5023754" cy="1709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0803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EtRYlf_jNixmvgI4F5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85</TotalTime>
  <Words>52</Words>
  <Application>Microsoft Macintosh PowerPoint</Application>
  <PresentationFormat>Panorámica</PresentationFormat>
  <Paragraphs>27</Paragraphs>
  <Slides>10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19" baseType="lpstr">
      <vt:lpstr>Arial</vt:lpstr>
      <vt:lpstr>Arial Black</vt:lpstr>
      <vt:lpstr>Calibri</vt:lpstr>
      <vt:lpstr>Calibri Light</vt:lpstr>
      <vt:lpstr>Futura</vt:lpstr>
      <vt:lpstr>Montserrat</vt:lpstr>
      <vt:lpstr>Wingdings</vt:lpstr>
      <vt:lpstr>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tias Adrian Prego</dc:creator>
  <cp:lastModifiedBy>Matias Adrian Prego</cp:lastModifiedBy>
  <cp:revision>13</cp:revision>
  <dcterms:created xsi:type="dcterms:W3CDTF">2020-09-03T18:14:45Z</dcterms:created>
  <dcterms:modified xsi:type="dcterms:W3CDTF">2020-09-11T18:35:52Z</dcterms:modified>
</cp:coreProperties>
</file>